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6"/>
  </p:notesMasterIdLst>
  <p:sldIdLst>
    <p:sldId id="468" r:id="rId2"/>
    <p:sldId id="2147474421" r:id="rId3"/>
    <p:sldId id="2147479143" r:id="rId4"/>
    <p:sldId id="214747939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20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569926-3494-DD4A-6B59-442E6EEFA55C}" name="Deon Viljoen" initials="DV" userId="Deon Viljoe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1717"/>
    <a:srgbClr val="FFFFFF"/>
    <a:srgbClr val="F3FAFF"/>
    <a:srgbClr val="002647"/>
    <a:srgbClr val="292B2C"/>
    <a:srgbClr val="383838"/>
    <a:srgbClr val="2A2B2D"/>
    <a:srgbClr val="ED974F"/>
    <a:srgbClr val="B4643D"/>
    <a:srgbClr val="CA3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5"/>
    <p:restoredTop sz="85109" autoAdjust="0"/>
  </p:normalViewPr>
  <p:slideViewPr>
    <p:cSldViewPr snapToGrid="0" snapToObjects="1">
      <p:cViewPr varScale="1">
        <p:scale>
          <a:sx n="57" d="100"/>
          <a:sy n="57" d="100"/>
        </p:scale>
        <p:origin x="1164" y="32"/>
      </p:cViewPr>
      <p:guideLst>
        <p:guide orient="horz" pos="1820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8/10/relationships/authors" Target="authors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414564579751188"/>
          <c:y val="4.3141224989713615E-2"/>
          <c:w val="0.85817524695728398"/>
          <c:h val="0.84409388844766364"/>
        </c:manualLayout>
      </c:layout>
      <c:lineChart>
        <c:grouping val="standard"/>
        <c:varyColors val="0"/>
        <c:ser>
          <c:idx val="0"/>
          <c:order val="0"/>
          <c:tx>
            <c:strRef>
              <c:f>Sheet1!$G$19</c:f>
              <c:strCache>
                <c:ptCount val="1"/>
                <c:pt idx="0">
                  <c:v>Pharmacy</c:v>
                </c:pt>
              </c:strCache>
            </c:strRef>
          </c:tx>
          <c:spPr>
            <a:ln w="28575" cap="rnd">
              <a:solidFill>
                <a:srgbClr val="00A0D2"/>
              </a:solidFill>
              <a:round/>
            </a:ln>
            <a:effectLst/>
          </c:spPr>
          <c:marker>
            <c:symbol val="none"/>
          </c:marker>
          <c:val>
            <c:numRef>
              <c:f>Sheet1!$G$20:$G$25</c:f>
              <c:numCache>
                <c:formatCode>0%</c:formatCode>
                <c:ptCount val="6"/>
                <c:pt idx="0">
                  <c:v>0</c:v>
                </c:pt>
                <c:pt idx="1">
                  <c:v>0.54</c:v>
                </c:pt>
                <c:pt idx="2">
                  <c:v>0.3</c:v>
                </c:pt>
                <c:pt idx="3">
                  <c:v>0.09</c:v>
                </c:pt>
                <c:pt idx="4">
                  <c:v>0.04</c:v>
                </c:pt>
                <c:pt idx="5">
                  <c:v>0.0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325-43B0-9A3C-57EF604EF6EC}"/>
            </c:ext>
          </c:extLst>
        </c:ser>
        <c:ser>
          <c:idx val="1"/>
          <c:order val="1"/>
          <c:tx>
            <c:strRef>
              <c:f>Sheet1!$H$19</c:f>
              <c:strCache>
                <c:ptCount val="1"/>
                <c:pt idx="0">
                  <c:v>GP care</c:v>
                </c:pt>
              </c:strCache>
            </c:strRef>
          </c:tx>
          <c:spPr>
            <a:ln w="28575" cap="rnd">
              <a:solidFill>
                <a:srgbClr val="8BC441"/>
              </a:solidFill>
              <a:round/>
            </a:ln>
            <a:effectLst/>
          </c:spPr>
          <c:marker>
            <c:symbol val="none"/>
          </c:marker>
          <c:val>
            <c:numRef>
              <c:f>Sheet1!$H$20:$H$25</c:f>
              <c:numCache>
                <c:formatCode>0%</c:formatCode>
                <c:ptCount val="6"/>
                <c:pt idx="0">
                  <c:v>0</c:v>
                </c:pt>
                <c:pt idx="1">
                  <c:v>0.42</c:v>
                </c:pt>
                <c:pt idx="2">
                  <c:v>0.31</c:v>
                </c:pt>
                <c:pt idx="3">
                  <c:v>0.14000000000000001</c:v>
                </c:pt>
                <c:pt idx="4">
                  <c:v>0.09</c:v>
                </c:pt>
                <c:pt idx="5">
                  <c:v>0.0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325-43B0-9A3C-57EF604EF6EC}"/>
            </c:ext>
          </c:extLst>
        </c:ser>
        <c:ser>
          <c:idx val="2"/>
          <c:order val="2"/>
          <c:tx>
            <c:strRef>
              <c:f>Sheet1!$I$19</c:f>
              <c:strCache>
                <c:ptCount val="1"/>
                <c:pt idx="0">
                  <c:v>Nurs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val>
            <c:numRef>
              <c:f>Sheet1!$I$20:$I$25</c:f>
              <c:numCache>
                <c:formatCode>0%</c:formatCode>
                <c:ptCount val="6"/>
                <c:pt idx="0">
                  <c:v>0</c:v>
                </c:pt>
                <c:pt idx="1">
                  <c:v>0.41</c:v>
                </c:pt>
                <c:pt idx="2">
                  <c:v>0.31</c:v>
                </c:pt>
                <c:pt idx="3">
                  <c:v>0.15</c:v>
                </c:pt>
                <c:pt idx="4">
                  <c:v>7.0000000000000007E-2</c:v>
                </c:pt>
                <c:pt idx="5">
                  <c:v>7.0000000000000007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5325-43B0-9A3C-57EF604EF6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1255432"/>
        <c:axId val="241256416"/>
      </c:lineChart>
      <c:catAx>
        <c:axId val="24125543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rgbClr val="FFFFFF">
                <a:lumMod val="50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1256416"/>
        <c:crosses val="autoZero"/>
        <c:auto val="1"/>
        <c:lblAlgn val="ctr"/>
        <c:lblOffset val="100"/>
        <c:noMultiLvlLbl val="0"/>
      </c:catAx>
      <c:valAx>
        <c:axId val="24125641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1255432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72124284413876805"/>
          <c:y val="9.9884601031509881E-2"/>
          <c:w val="0.22679424159670952"/>
          <c:h val="0.246085716746246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bg1">
                  <a:lumMod val="10000"/>
                  <a:lumOff val="9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7370685037478759"/>
          <c:y val="0.29584473414191381"/>
          <c:w val="0.44900588541096942"/>
          <c:h val="0.52377660554079286"/>
        </c:manualLayout>
      </c:layout>
      <c:pieChart>
        <c:varyColors val="1"/>
        <c:ser>
          <c:idx val="0"/>
          <c:order val="0"/>
          <c:spPr>
            <a:ln w="6350">
              <a:solidFill>
                <a:srgbClr val="292B2C">
                  <a:lumMod val="25000"/>
                  <a:lumOff val="75000"/>
                </a:srgbClr>
              </a:solidFill>
            </a:ln>
          </c:spPr>
          <c:dPt>
            <c:idx val="0"/>
            <c:bubble3D val="0"/>
            <c:spPr>
              <a:solidFill>
                <a:srgbClr val="1EBEAA"/>
              </a:soli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DFC-47BB-9CBA-CE60A07FE249}"/>
              </c:ext>
            </c:extLst>
          </c:dPt>
          <c:dPt>
            <c:idx val="1"/>
            <c:bubble3D val="0"/>
            <c:spPr>
              <a:solidFill>
                <a:srgbClr val="3D45E0"/>
              </a:soli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DFC-47BB-9CBA-CE60A07FE249}"/>
              </c:ext>
            </c:extLst>
          </c:dPt>
          <c:dPt>
            <c:idx val="2"/>
            <c:bubble3D val="0"/>
            <c:spPr>
              <a:solidFill>
                <a:srgbClr val="00A0D2"/>
              </a:soli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8DFC-47BB-9CBA-CE60A07FE249}"/>
              </c:ext>
            </c:extLst>
          </c:dPt>
          <c:dPt>
            <c:idx val="3"/>
            <c:bubble3D val="0"/>
            <c:spPr>
              <a:solidFill>
                <a:srgbClr val="292B2C">
                  <a:lumMod val="25000"/>
                  <a:lumOff val="75000"/>
                </a:srgbClr>
              </a:soli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8DFC-47BB-9CBA-CE60A07FE249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5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5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6350" cap="flat" cmpd="sng" algn="ctr">
                <a:solidFill>
                  <a:srgbClr val="292B2C">
                    <a:lumMod val="25000"/>
                    <a:lumOff val="75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8DFC-47BB-9CBA-CE60A07FE249}"/>
              </c:ext>
            </c:extLst>
          </c:dPt>
          <c:dLbls>
            <c:dLbl>
              <c:idx val="2"/>
              <c:layout>
                <c:manualLayout>
                  <c:x val="3.5178216097426961E-2"/>
                  <c:y val="-7.1572373524678816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3971349923147967E-2"/>
                      <c:h val="8.72685001814601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8DFC-47BB-9CBA-CE60A07FE249}"/>
                </c:ext>
              </c:extLst>
            </c:dLbl>
            <c:dLbl>
              <c:idx val="3"/>
              <c:layout>
                <c:manualLayout>
                  <c:x val="-1.7902069197276854E-2"/>
                  <c:y val="0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FC-47BB-9CBA-CE60A07FE24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FC-47BB-9CBA-CE60A07FE2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E$60:$E$64</c:f>
              <c:strCache>
                <c:ptCount val="5"/>
                <c:pt idx="0">
                  <c:v>Medication</c:v>
                </c:pt>
                <c:pt idx="1">
                  <c:v>Private doctor</c:v>
                </c:pt>
                <c:pt idx="2">
                  <c:v>Nurse consultation</c:v>
                </c:pt>
                <c:pt idx="3">
                  <c:v>Traditional healer</c:v>
                </c:pt>
                <c:pt idx="4">
                  <c:v>Other</c:v>
                </c:pt>
              </c:strCache>
            </c:strRef>
          </c:cat>
          <c:val>
            <c:numRef>
              <c:f>Sheet1!$F$60:$F$64</c:f>
              <c:numCache>
                <c:formatCode>0%</c:formatCode>
                <c:ptCount val="5"/>
                <c:pt idx="0">
                  <c:v>0.56000000000000005</c:v>
                </c:pt>
                <c:pt idx="1">
                  <c:v>0.41</c:v>
                </c:pt>
                <c:pt idx="2">
                  <c:v>0.02</c:v>
                </c:pt>
                <c:pt idx="3">
                  <c:v>0.01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DFC-47BB-9CBA-CE60A07FE2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78"/>
      </c: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8666146425957606E-2"/>
          <c:y val="5.1472037640539481E-2"/>
          <c:w val="0.9319264656297187"/>
          <c:h val="0.226416171873128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FFFFFF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rgbClr val="FFFFFF"/>
          </a:solidFill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AB3258-7059-284E-9A0D-CE6D65378950}" type="datetimeFigureOut">
              <a:rPr lang="en-US" smtClean="0"/>
              <a:t>18/0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57B359-16D0-4445-A606-D9ED30A02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538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8AB73-7610-4224-937B-818B4838A9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1430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8AB73-7610-4224-937B-818B4838A9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1522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5097102"/>
            <a:ext cx="9867037" cy="561314"/>
          </a:xfrm>
        </p:spPr>
        <p:txBody>
          <a:bodyPr anchor="ctr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729360"/>
            <a:ext cx="9867037" cy="345515"/>
          </a:xfrm>
        </p:spPr>
        <p:txBody>
          <a:bodyPr/>
          <a:lstStyle>
            <a:lvl1pPr marL="0" indent="0" algn="l">
              <a:buNone/>
              <a:defRPr sz="1400" cap="none" spc="1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550F553A-8815-BDC3-B910-7E6A379800BA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5FC231-21BA-38F8-136C-9ACC69E6F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16" name="Graphic 35">
            <a:extLst>
              <a:ext uri="{FF2B5EF4-FFF2-40B4-BE49-F238E27FC236}">
                <a16:creationId xmlns:a16="http://schemas.microsoft.com/office/drawing/2014/main" id="{4F33D126-8F3B-D946-7083-2AE99EE77F36}"/>
              </a:ext>
            </a:extLst>
          </p:cNvPr>
          <p:cNvGrpSpPr/>
          <p:nvPr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B39EA8F-6FB7-CE70-CDB9-4CD6D0DC00D9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57A37A3-ACDD-EDF1-7EE2-ADC851E6A561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DE38371-215C-A996-0CA7-0A977F7E9C60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64306-E7F7-5030-7E8D-F407F98D58B9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bg2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91B1FD6-3A14-A4A6-1A40-250184973B24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B75345F-5958-0860-0967-41EC4445211A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30414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97721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338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500BA7-E5EA-4515-8A8D-11A4EEB8B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5437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500BA7-E5EA-4515-8A8D-11A4EEB8B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8C6B7A10-DF27-4805-8B07-227DDC9A2B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263" y="284163"/>
            <a:ext cx="10881360" cy="437016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</a:lstStyle>
          <a:p>
            <a:r>
              <a:rPr lang="en-ZA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916155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9C8DAA3-0B64-436F-B701-F764832658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64" y="996172"/>
            <a:ext cx="11575184" cy="489689"/>
          </a:xfrm>
          <a:noFill/>
        </p:spPr>
        <p:txBody>
          <a:bodyPr anchor="ctr" anchorCtr="0">
            <a:noAutofit/>
          </a:bodyPr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609539" indent="0">
              <a:buNone/>
              <a:defRPr sz="2667" b="1"/>
            </a:lvl2pPr>
            <a:lvl3pPr marL="1219080" indent="0">
              <a:buNone/>
              <a:defRPr sz="2400" b="1"/>
            </a:lvl3pPr>
            <a:lvl4pPr marL="1828618" indent="0">
              <a:buNone/>
              <a:defRPr sz="2133" b="1"/>
            </a:lvl4pPr>
            <a:lvl5pPr marL="2438158" indent="0">
              <a:buNone/>
              <a:defRPr sz="2133" b="1"/>
            </a:lvl5pPr>
            <a:lvl6pPr marL="3047696" indent="0">
              <a:buNone/>
              <a:defRPr sz="2133" b="1"/>
            </a:lvl6pPr>
            <a:lvl7pPr marL="3657235" indent="0">
              <a:buNone/>
              <a:defRPr sz="2133" b="1"/>
            </a:lvl7pPr>
            <a:lvl8pPr marL="4266773" indent="0">
              <a:buNone/>
              <a:defRPr sz="2133" b="1"/>
            </a:lvl8pPr>
            <a:lvl9pPr marL="4876313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114580-6199-4CB2-8103-8D25358AA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8055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794C7A8-0214-3A28-070E-42459D5896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7173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794C7A8-0214-3A28-070E-42459D5896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02382A-1BE8-4094-BFD2-E0328E2E2049}" type="datetimeFigureOut">
              <a:rPr lang="en-US" smtClean="0"/>
              <a:t>18/07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FB6290-9CF5-41D5-B78C-E203EF9E25F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952456F-C110-46A8-ACC1-029C58251B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263" y="284163"/>
            <a:ext cx="10881360" cy="437016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</a:lstStyle>
          <a:p>
            <a:r>
              <a:rPr lang="en-ZA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16898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33487"/>
            <a:ext cx="11417300" cy="51117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009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  <p:sldLayoutId id="2147483669" r:id="rId4"/>
    <p:sldLayoutId id="2147483671" r:id="rId5"/>
    <p:sldLayoutId id="2147483673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Open Sans Light" panose="020B0306030504020204" pitchFamily="34" charset="0"/>
        <a:buChar char="–"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76" userDrawn="1">
          <p15:clr>
            <a:srgbClr val="F26B43"/>
          </p15:clr>
        </p15:guide>
        <p15:guide id="8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D44DD-8A52-45F0-D92C-0187BD1C9A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5844" y="5097102"/>
            <a:ext cx="9867037" cy="561314"/>
          </a:xfrm>
        </p:spPr>
        <p:txBody>
          <a:bodyPr/>
          <a:lstStyle/>
          <a:p>
            <a:r>
              <a:rPr lang="en-US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rPr>
              <a:t>BUILDING A BETTER HEALTHCARE SYSTEM</a:t>
            </a:r>
            <a:endParaRPr lang="en-ZA" dirty="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AF616F0-4B00-2238-8B07-5868D057E6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844" y="5729360"/>
            <a:ext cx="9867037" cy="345515"/>
          </a:xfrm>
        </p:spPr>
        <p:txBody>
          <a:bodyPr/>
          <a:lstStyle/>
          <a:p>
            <a:r>
              <a:rPr lang="en-ZA" dirty="0"/>
              <a:t>DEON KOTZÉ | CHIEF PRODUCT OFFICER</a:t>
            </a:r>
          </a:p>
        </p:txBody>
      </p:sp>
    </p:spTree>
    <p:extLst>
      <p:ext uri="{BB962C8B-B14F-4D97-AF65-F5344CB8AC3E}">
        <p14:creationId xmlns:p14="http://schemas.microsoft.com/office/powerpoint/2010/main" val="194930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AB3EA0-E4DB-C7B5-BADE-8689ACE17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ccess to primary healthcare is highly valued</a:t>
            </a:r>
          </a:p>
        </p:txBody>
      </p:sp>
      <p:sp>
        <p:nvSpPr>
          <p:cNvPr id="3" name="Rounded Rectangle 11">
            <a:extLst>
              <a:ext uri="{FF2B5EF4-FFF2-40B4-BE49-F238E27FC236}">
                <a16:creationId xmlns:a16="http://schemas.microsoft.com/office/drawing/2014/main" id="{2E0BCDB7-FDA0-ECD1-0E98-5F44FD2112E0}"/>
              </a:ext>
            </a:extLst>
          </p:cNvPr>
          <p:cNvSpPr/>
          <p:nvPr/>
        </p:nvSpPr>
        <p:spPr>
          <a:xfrm rot="10800000" flipH="1">
            <a:off x="8205734" y="2296025"/>
            <a:ext cx="3595689" cy="4037882"/>
          </a:xfrm>
          <a:prstGeom prst="round2SameRect">
            <a:avLst>
              <a:gd name="adj1" fmla="val 8173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77967F-CE12-DDEA-503B-B80F28959757}"/>
              </a:ext>
            </a:extLst>
          </p:cNvPr>
          <p:cNvSpPr txBox="1"/>
          <p:nvPr/>
        </p:nvSpPr>
        <p:spPr>
          <a:xfrm>
            <a:off x="4297335" y="1243310"/>
            <a:ext cx="3595689" cy="911259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ZA" sz="1300" kern="0" dirty="0">
                <a:solidFill>
                  <a:schemeClr val="bg2"/>
                </a:solidFill>
                <a:latin typeface="+mj-lt"/>
              </a:rPr>
              <a:t>HOUSEHOLDS</a:t>
            </a:r>
            <a:br>
              <a:rPr lang="en-ZA" sz="1300" kern="0" dirty="0">
                <a:solidFill>
                  <a:schemeClr val="bg2"/>
                </a:solidFill>
                <a:latin typeface="+mj-lt"/>
              </a:rPr>
            </a:br>
            <a:r>
              <a:rPr lang="en-ZA" sz="1300" kern="0" dirty="0">
                <a:solidFill>
                  <a:schemeClr val="bg2"/>
                </a:solidFill>
                <a:latin typeface="+mj-lt"/>
              </a:rPr>
              <a:t>EXPERIENCE SUBSTANTIAL CHALLENGES WHEN ACCESSING CARE</a:t>
            </a:r>
          </a:p>
        </p:txBody>
      </p:sp>
      <p:sp>
        <p:nvSpPr>
          <p:cNvPr id="5" name="Rounded Rectangle 11">
            <a:extLst>
              <a:ext uri="{FF2B5EF4-FFF2-40B4-BE49-F238E27FC236}">
                <a16:creationId xmlns:a16="http://schemas.microsoft.com/office/drawing/2014/main" id="{2345507A-6CFE-3E47-B9B1-6142B8F61597}"/>
              </a:ext>
            </a:extLst>
          </p:cNvPr>
          <p:cNvSpPr/>
          <p:nvPr/>
        </p:nvSpPr>
        <p:spPr>
          <a:xfrm rot="10800000" flipH="1">
            <a:off x="388938" y="2296026"/>
            <a:ext cx="3595689" cy="4037882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B44A84-4254-5CDA-1797-E9B9B809C918}"/>
              </a:ext>
            </a:extLst>
          </p:cNvPr>
          <p:cNvSpPr txBox="1"/>
          <p:nvPr/>
        </p:nvSpPr>
        <p:spPr>
          <a:xfrm>
            <a:off x="388936" y="1243310"/>
            <a:ext cx="3595689" cy="911259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LOW INCOME HOUSEHOLDS USE</a:t>
            </a:r>
            <a:b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</a:br>
            <a: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PRIMARY HEALTHCARE CHANNELS</a:t>
            </a:r>
            <a:b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</a:br>
            <a: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WHEN SEEKING CA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52EBAE-5BA3-96CF-EBD4-E2FB41A4CCF4}"/>
              </a:ext>
            </a:extLst>
          </p:cNvPr>
          <p:cNvSpPr txBox="1"/>
          <p:nvPr/>
        </p:nvSpPr>
        <p:spPr>
          <a:xfrm>
            <a:off x="8205734" y="1243310"/>
            <a:ext cx="3595689" cy="911259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ZA" sz="1300" kern="0" dirty="0">
                <a:solidFill>
                  <a:schemeClr val="bg2"/>
                </a:solidFill>
                <a:latin typeface="+mj-lt"/>
              </a:rPr>
              <a:t>HOUSEHOLDS REGULARLY USE</a:t>
            </a:r>
            <a:br>
              <a:rPr lang="en-ZA" sz="1300" kern="0" dirty="0">
                <a:solidFill>
                  <a:schemeClr val="bg2"/>
                </a:solidFill>
                <a:latin typeface="+mj-lt"/>
              </a:rPr>
            </a:br>
            <a:r>
              <a:rPr lang="en-ZA" sz="1300" kern="0" dirty="0">
                <a:solidFill>
                  <a:schemeClr val="bg2"/>
                </a:solidFill>
                <a:latin typeface="+mj-lt"/>
              </a:rPr>
              <a:t>THEIR HEALTHCARE BUDGET ON</a:t>
            </a:r>
            <a:br>
              <a:rPr lang="en-ZA" sz="1300" kern="0" dirty="0">
                <a:solidFill>
                  <a:schemeClr val="bg2"/>
                </a:solidFill>
                <a:latin typeface="+mj-lt"/>
              </a:rPr>
            </a:br>
            <a:r>
              <a:rPr lang="en-ZA" sz="1300" kern="0" dirty="0">
                <a:solidFill>
                  <a:schemeClr val="bg2"/>
                </a:solidFill>
                <a:latin typeface="+mj-lt"/>
              </a:rPr>
              <a:t>PRIMARY SERVIC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7FC22F3-5860-90AD-CEC7-A7F14C2A8953}"/>
              </a:ext>
            </a:extLst>
          </p:cNvPr>
          <p:cNvGrpSpPr/>
          <p:nvPr/>
        </p:nvGrpSpPr>
        <p:grpSpPr>
          <a:xfrm>
            <a:off x="390575" y="2154569"/>
            <a:ext cx="11415663" cy="65256"/>
            <a:chOff x="390575" y="2001351"/>
            <a:chExt cx="11415663" cy="652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6557956-D217-E132-5479-A862F14CAB9F}"/>
                </a:ext>
              </a:extLst>
            </p:cNvPr>
            <p:cNvSpPr/>
            <p:nvPr/>
          </p:nvSpPr>
          <p:spPr>
            <a:xfrm>
              <a:off x="8209838" y="2002156"/>
              <a:ext cx="35964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05E1D3E-EF98-1335-5C54-EA2178D16C91}"/>
                </a:ext>
              </a:extLst>
            </p:cNvPr>
            <p:cNvSpPr/>
            <p:nvPr/>
          </p:nvSpPr>
          <p:spPr>
            <a:xfrm>
              <a:off x="390575" y="2001351"/>
              <a:ext cx="35964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8D3E9C5-0084-8E0F-FA3B-7EFB50B4E7EF}"/>
                </a:ext>
              </a:extLst>
            </p:cNvPr>
            <p:cNvSpPr/>
            <p:nvPr/>
          </p:nvSpPr>
          <p:spPr>
            <a:xfrm>
              <a:off x="4300207" y="2001351"/>
              <a:ext cx="35964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3" name="Rounded Rectangle 11">
            <a:extLst>
              <a:ext uri="{FF2B5EF4-FFF2-40B4-BE49-F238E27FC236}">
                <a16:creationId xmlns:a16="http://schemas.microsoft.com/office/drawing/2014/main" id="{85E8C8DD-490F-99B4-12BE-E23FCA7336CC}"/>
              </a:ext>
            </a:extLst>
          </p:cNvPr>
          <p:cNvSpPr/>
          <p:nvPr/>
        </p:nvSpPr>
        <p:spPr>
          <a:xfrm rot="10800000" flipH="1">
            <a:off x="4297336" y="2307356"/>
            <a:ext cx="3595689" cy="4037882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8F2E01-6F0B-1369-B613-F0B1646F0452}"/>
              </a:ext>
            </a:extLst>
          </p:cNvPr>
          <p:cNvSpPr/>
          <p:nvPr/>
        </p:nvSpPr>
        <p:spPr>
          <a:xfrm>
            <a:off x="494780" y="2335622"/>
            <a:ext cx="3384000" cy="936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~80%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of low income earners seek primary healthcare within the first 48 hours of experiencing</a:t>
            </a:r>
            <a:b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any symptoms</a:t>
            </a:r>
            <a:r>
              <a:rPr kumimoji="0" lang="en-ZA" sz="12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96F0A1-6054-795F-90AE-64DA76B79375}"/>
              </a:ext>
            </a:extLst>
          </p:cNvPr>
          <p:cNvSpPr/>
          <p:nvPr/>
        </p:nvSpPr>
        <p:spPr>
          <a:xfrm>
            <a:off x="4403179" y="2335622"/>
            <a:ext cx="3384000" cy="936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Employees access care through public clinics and self-funded private facilities</a:t>
            </a:r>
            <a:r>
              <a:rPr kumimoji="0" lang="en-ZA" sz="12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6B501E2-E066-39C3-DC01-9C47FD3EFB23}"/>
              </a:ext>
            </a:extLst>
          </p:cNvPr>
          <p:cNvSpPr/>
          <p:nvPr/>
        </p:nvSpPr>
        <p:spPr>
          <a:xfrm>
            <a:off x="8311578" y="2335622"/>
            <a:ext cx="3384000" cy="936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~97%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of healthcare budget spent on medication</a:t>
            </a:r>
            <a:b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and private doctor consulta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A53B62D-EE6F-4D9C-6FD0-62D407EE2F81}"/>
              </a:ext>
            </a:extLst>
          </p:cNvPr>
          <p:cNvSpPr txBox="1"/>
          <p:nvPr/>
        </p:nvSpPr>
        <p:spPr>
          <a:xfrm>
            <a:off x="388936" y="6480079"/>
            <a:ext cx="6097836" cy="2308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r>
              <a:rPr lang="en-ZA" sz="900" dirty="0">
                <a:solidFill>
                  <a:schemeClr val="bg1"/>
                </a:solidFill>
              </a:rPr>
              <a:t>1M4JAM Discovery Research – September 2020</a:t>
            </a:r>
          </a:p>
          <a:p>
            <a:r>
              <a:rPr lang="en-ZA" sz="900" dirty="0">
                <a:solidFill>
                  <a:schemeClr val="bg1"/>
                </a:solidFill>
              </a:rPr>
              <a:t>22020 General Household Survey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895416F6-5170-A65B-2F54-BB3AB9243F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5175948"/>
              </p:ext>
            </p:extLst>
          </p:nvPr>
        </p:nvGraphicFramePr>
        <p:xfrm>
          <a:off x="355328" y="3394208"/>
          <a:ext cx="3707625" cy="23562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D22FDFB9-535C-7B8E-3E93-440624DA678B}"/>
              </a:ext>
            </a:extLst>
          </p:cNvPr>
          <p:cNvSpPr/>
          <p:nvPr/>
        </p:nvSpPr>
        <p:spPr>
          <a:xfrm>
            <a:off x="950757" y="5539115"/>
            <a:ext cx="640798" cy="20913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&lt;24 hou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1F1E20-FAC4-A3F8-5111-2DAE5689E8B8}"/>
              </a:ext>
            </a:extLst>
          </p:cNvPr>
          <p:cNvSpPr/>
          <p:nvPr/>
        </p:nvSpPr>
        <p:spPr>
          <a:xfrm>
            <a:off x="1483298" y="5539115"/>
            <a:ext cx="640798" cy="20913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48 hour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089CDB-644E-20E3-E698-023759B800C3}"/>
              </a:ext>
            </a:extLst>
          </p:cNvPr>
          <p:cNvSpPr/>
          <p:nvPr/>
        </p:nvSpPr>
        <p:spPr>
          <a:xfrm>
            <a:off x="2020388" y="5539115"/>
            <a:ext cx="640798" cy="37585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Regular activities stopp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4C4C11D-5BDE-17B1-71AE-649D9E0D52C2}"/>
              </a:ext>
            </a:extLst>
          </p:cNvPr>
          <p:cNvSpPr/>
          <p:nvPr/>
        </p:nvSpPr>
        <p:spPr>
          <a:xfrm>
            <a:off x="2626403" y="5539114"/>
            <a:ext cx="476573" cy="37978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Many activities stoppe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09125B2-782A-B6FB-FFB2-63D8C9AF4C02}"/>
              </a:ext>
            </a:extLst>
          </p:cNvPr>
          <p:cNvSpPr/>
          <p:nvPr/>
        </p:nvSpPr>
        <p:spPr>
          <a:xfrm>
            <a:off x="3156436" y="5539115"/>
            <a:ext cx="473770" cy="21924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Last resort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FCA3B9A-6F4E-0C67-1CBD-54725071B76F}"/>
              </a:ext>
            </a:extLst>
          </p:cNvPr>
          <p:cNvSpPr/>
          <p:nvPr/>
        </p:nvSpPr>
        <p:spPr>
          <a:xfrm>
            <a:off x="961833" y="3458658"/>
            <a:ext cx="1147146" cy="2363621"/>
          </a:xfrm>
          <a:prstGeom prst="roundRect">
            <a:avLst>
              <a:gd name="adj" fmla="val 15015"/>
            </a:avLst>
          </a:prstGeom>
          <a:noFill/>
          <a:ln w="381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  <a:effectLst>
            <a:outerShdw blurRad="63500" sx="101000" sy="101000" algn="ctr" rotWithShape="0">
              <a:schemeClr val="bg1">
                <a:alpha val="5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C83911E-E811-3154-2D01-1FBCA29D4538}"/>
              </a:ext>
            </a:extLst>
          </p:cNvPr>
          <p:cNvSpPr/>
          <p:nvPr/>
        </p:nvSpPr>
        <p:spPr>
          <a:xfrm>
            <a:off x="604027" y="5935796"/>
            <a:ext cx="3274753" cy="40505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Time to Seeking Car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0618132-47C7-35FC-3BBD-CA002CA38E6E}"/>
              </a:ext>
            </a:extLst>
          </p:cNvPr>
          <p:cNvSpPr/>
          <p:nvPr/>
        </p:nvSpPr>
        <p:spPr>
          <a:xfrm>
            <a:off x="4620945" y="3027340"/>
            <a:ext cx="1228725" cy="576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~65%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00A0D2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Public clinic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1F932AE-141B-7DAC-F8BB-A4C2F13564E8}"/>
              </a:ext>
            </a:extLst>
          </p:cNvPr>
          <p:cNvSpPr/>
          <p:nvPr/>
        </p:nvSpPr>
        <p:spPr>
          <a:xfrm>
            <a:off x="6311900" y="3027340"/>
            <a:ext cx="1228725" cy="576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~21%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Private doctor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2D1B358-DC64-B178-A654-9570373F65EF}"/>
              </a:ext>
            </a:extLst>
          </p:cNvPr>
          <p:cNvSpPr/>
          <p:nvPr/>
        </p:nvSpPr>
        <p:spPr>
          <a:xfrm>
            <a:off x="6280990" y="5050131"/>
            <a:ext cx="1329301" cy="105346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70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Self-fund care</a:t>
            </a:r>
            <a:b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no </a:t>
            </a:r>
            <a:r>
              <a:rPr kumimoji="0" lang="en-ZA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medica</a:t>
            </a: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l aid or employer subsidies</a:t>
            </a:r>
            <a:r>
              <a:rPr kumimoji="0" lang="en-ZA" sz="1000" b="0" i="1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  <a:endParaRPr kumimoji="0" lang="en-ZA" sz="1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7A78D-300B-1131-6209-D64475578D49}"/>
              </a:ext>
            </a:extLst>
          </p:cNvPr>
          <p:cNvSpPr/>
          <p:nvPr/>
        </p:nvSpPr>
        <p:spPr>
          <a:xfrm>
            <a:off x="4972495" y="5013038"/>
            <a:ext cx="1218192" cy="288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Queu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BCFD93E-D60F-9DF3-6A49-385999764DBD}"/>
              </a:ext>
            </a:extLst>
          </p:cNvPr>
          <p:cNvSpPr/>
          <p:nvPr/>
        </p:nvSpPr>
        <p:spPr>
          <a:xfrm>
            <a:off x="4972494" y="5779624"/>
            <a:ext cx="1160349" cy="288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Quality  of care</a:t>
            </a:r>
          </a:p>
        </p:txBody>
      </p:sp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C0E295ED-B310-8317-F62D-6515CBEDDA31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4566143" y="5007565"/>
            <a:ext cx="336157" cy="336157"/>
          </a:xfrm>
          <a:prstGeom prst="rect">
            <a:avLst/>
          </a:prstGeom>
        </p:spPr>
      </p:pic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AD29E309-5590-7EDC-A6B5-38B5DF9A68EB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4584144" y="5771896"/>
            <a:ext cx="300155" cy="300880"/>
          </a:xfrm>
          <a:prstGeom prst="rect">
            <a:avLst/>
          </a:prstGeom>
        </p:spPr>
      </p:pic>
      <p:pic>
        <p:nvPicPr>
          <p:cNvPr id="33" name="Picture 32" descr="Icon&#10;&#10;Description automatically generated">
            <a:extLst>
              <a:ext uri="{FF2B5EF4-FFF2-40B4-BE49-F238E27FC236}">
                <a16:creationId xmlns:a16="http://schemas.microsoft.com/office/drawing/2014/main" id="{0890AB20-EA1E-CD4F-06F7-E823D739BD84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4603661" y="5381929"/>
            <a:ext cx="261121" cy="261752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D448824-9F51-3512-E89B-75BD5462F2BC}"/>
              </a:ext>
            </a:extLst>
          </p:cNvPr>
          <p:cNvSpPr/>
          <p:nvPr/>
        </p:nvSpPr>
        <p:spPr>
          <a:xfrm>
            <a:off x="4972495" y="5396331"/>
            <a:ext cx="1218192" cy="288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Transport</a:t>
            </a: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2688FB4-5AAC-D509-867F-73767521F6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8147247"/>
              </p:ext>
            </p:extLst>
          </p:nvPr>
        </p:nvGraphicFramePr>
        <p:xfrm>
          <a:off x="8216635" y="3026904"/>
          <a:ext cx="3547076" cy="3040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36" name="Picture 35" descr="A picture containing icon&#10;&#10;Description automatically generated">
            <a:extLst>
              <a:ext uri="{FF2B5EF4-FFF2-40B4-BE49-F238E27FC236}">
                <a16:creationId xmlns:a16="http://schemas.microsoft.com/office/drawing/2014/main" id="{8463299B-4BD9-8D12-B823-BB163CBB8969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4793834" y="3520800"/>
            <a:ext cx="882947" cy="885080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B33ED4ED-FA61-2ECB-B0FA-B172E2CEEEB5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6442860" y="3479938"/>
            <a:ext cx="966804" cy="966804"/>
          </a:xfrm>
          <a:prstGeom prst="rect">
            <a:avLst/>
          </a:prstGeom>
        </p:spPr>
      </p:pic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847CA95A-0842-7325-4A73-6764E0ADB2A0}"/>
              </a:ext>
            </a:extLst>
          </p:cNvPr>
          <p:cNvSpPr/>
          <p:nvPr/>
        </p:nvSpPr>
        <p:spPr>
          <a:xfrm rot="5400000">
            <a:off x="5104624" y="4426959"/>
            <a:ext cx="261366" cy="394081"/>
          </a:xfrm>
          <a:prstGeom prst="chevron">
            <a:avLst>
              <a:gd name="adj" fmla="val 65753"/>
            </a:avLst>
          </a:prstGeom>
          <a:solidFill>
            <a:schemeClr val="tx1">
              <a:lumMod val="75000"/>
              <a:lumOff val="2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C1EE1C46-04DE-81A9-99F3-42CA7D80C98F}"/>
              </a:ext>
            </a:extLst>
          </p:cNvPr>
          <p:cNvSpPr/>
          <p:nvPr/>
        </p:nvSpPr>
        <p:spPr>
          <a:xfrm rot="5400000">
            <a:off x="6795578" y="4405232"/>
            <a:ext cx="261366" cy="394081"/>
          </a:xfrm>
          <a:prstGeom prst="chevron">
            <a:avLst>
              <a:gd name="adj" fmla="val 65753"/>
            </a:avLst>
          </a:prstGeom>
          <a:solidFill>
            <a:schemeClr val="tx1">
              <a:lumMod val="75000"/>
              <a:lumOff val="2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62509D9-0F2A-E670-1C81-EC25C43D6A7E}"/>
              </a:ext>
            </a:extLst>
          </p:cNvPr>
          <p:cNvSpPr/>
          <p:nvPr/>
        </p:nvSpPr>
        <p:spPr>
          <a:xfrm>
            <a:off x="8198250" y="5743548"/>
            <a:ext cx="3561066" cy="576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Research shows preference to self-medicate</a:t>
            </a:r>
            <a:b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to avoid access and affordability constraints</a:t>
            </a:r>
            <a:r>
              <a:rPr kumimoji="0" lang="en-ZA" sz="1000" b="0" i="1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  <a:endParaRPr kumimoji="0" lang="en-ZA" sz="1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85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A97C34C3-2995-EA7F-1463-42069EC1AA9D}"/>
              </a:ext>
            </a:extLst>
          </p:cNvPr>
          <p:cNvSpPr/>
          <p:nvPr/>
        </p:nvSpPr>
        <p:spPr>
          <a:xfrm flipV="1">
            <a:off x="4138129" y="4457204"/>
            <a:ext cx="2469600" cy="1901360"/>
          </a:xfrm>
          <a:prstGeom prst="round2SameRect">
            <a:avLst>
              <a:gd name="adj1" fmla="val 6895"/>
              <a:gd name="adj2" fmla="val 0"/>
            </a:avLst>
          </a:prstGeom>
          <a:solidFill>
            <a:srgbClr val="17171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endParaRPr kumimoji="0" lang="en-ZA" sz="1164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6" name="Rectangle: Top Corners Rounded 35">
            <a:extLst>
              <a:ext uri="{FF2B5EF4-FFF2-40B4-BE49-F238E27FC236}">
                <a16:creationId xmlns:a16="http://schemas.microsoft.com/office/drawing/2014/main" id="{D7DB51A7-116F-C083-3CE8-A084ED4860B2}"/>
              </a:ext>
            </a:extLst>
          </p:cNvPr>
          <p:cNvSpPr/>
          <p:nvPr/>
        </p:nvSpPr>
        <p:spPr>
          <a:xfrm flipV="1">
            <a:off x="6735797" y="4457204"/>
            <a:ext cx="2469600" cy="1901360"/>
          </a:xfrm>
          <a:prstGeom prst="round2SameRect">
            <a:avLst>
              <a:gd name="adj1" fmla="val 6895"/>
              <a:gd name="adj2" fmla="val 0"/>
            </a:avLst>
          </a:prstGeom>
          <a:solidFill>
            <a:srgbClr val="17171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endParaRPr kumimoji="0" lang="en-ZA" sz="1164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49301410-92BC-96E1-4DDC-5771BD8C4278}"/>
              </a:ext>
            </a:extLst>
          </p:cNvPr>
          <p:cNvSpPr/>
          <p:nvPr/>
        </p:nvSpPr>
        <p:spPr>
          <a:xfrm flipV="1">
            <a:off x="9333465" y="4457204"/>
            <a:ext cx="2469600" cy="1901360"/>
          </a:xfrm>
          <a:prstGeom prst="round2SameRect">
            <a:avLst>
              <a:gd name="adj1" fmla="val 6895"/>
              <a:gd name="adj2" fmla="val 0"/>
            </a:avLst>
          </a:prstGeom>
          <a:solidFill>
            <a:srgbClr val="17171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endParaRPr kumimoji="0" lang="en-ZA" sz="1164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4630EDB-84B6-5BBB-2B93-1D87E008F0C0}"/>
              </a:ext>
            </a:extLst>
          </p:cNvPr>
          <p:cNvSpPr/>
          <p:nvPr/>
        </p:nvSpPr>
        <p:spPr>
          <a:xfrm>
            <a:off x="4138129" y="1981228"/>
            <a:ext cx="7672503" cy="1332000"/>
          </a:xfrm>
          <a:prstGeom prst="rect">
            <a:avLst/>
          </a:prstGeom>
          <a:solidFill>
            <a:srgbClr val="17171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>
                <a:tab pos="1520825" algn="l"/>
              </a:tabLst>
              <a:defRPr/>
            </a:pP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5000">
                      <a:srgbClr val="1EBEAA"/>
                    </a:gs>
                    <a:gs pos="100000">
                      <a:srgbClr val="3C45E0"/>
                    </a:gs>
                  </a:gsLst>
                  <a:lin ang="2700000" scaled="0"/>
                </a:gra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Contributions:	</a:t>
            </a: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R150-R300 per beneficiary per month 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>
                <a:tab pos="1520825" algn="l"/>
              </a:tabLst>
              <a:defRPr/>
            </a:pP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5000">
                      <a:srgbClr val="1EBEAA"/>
                    </a:gs>
                    <a:gs pos="100000">
                      <a:srgbClr val="3C45E0"/>
                    </a:gs>
                  </a:gsLst>
                  <a:lin ang="2700000" scaled="0"/>
                </a:gra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Funding model:	</a:t>
            </a: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employer subsidies &amp; tax credits  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>
                <a:tab pos="1520825" algn="l"/>
              </a:tabLst>
              <a:defRPr/>
            </a:pP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5000">
                      <a:srgbClr val="1EBEAA"/>
                    </a:gs>
                    <a:gs pos="100000">
                      <a:srgbClr val="3C45E0"/>
                    </a:gs>
                  </a:gsLst>
                  <a:lin ang="2700000" scaled="0"/>
                </a:gra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Minimum benefits:	</a:t>
            </a: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primary care (nurse-led), acute &amp; chronic medication (subject to EML), basic pathology</a:t>
            </a:r>
            <a:br>
              <a:rPr kumimoji="0" lang="en-US" sz="111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	&amp;  ambulatory services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>
                <a:tab pos="1520825" algn="l"/>
              </a:tabLst>
              <a:defRPr/>
            </a:pP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5000">
                      <a:srgbClr val="1EBEAA"/>
                    </a:gs>
                    <a:gs pos="100000">
                      <a:srgbClr val="3C45E0"/>
                    </a:gs>
                  </a:gsLst>
                  <a:lin ang="2700000" scaled="0"/>
                </a:gra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Additional cover:	</a:t>
            </a: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GP access, dentistry, optometry, extended formulary &amp; diagnostics, auxiliary</a:t>
            </a:r>
            <a:br>
              <a:rPr kumimoji="0" lang="en-US" sz="111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	out of hospital services 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>
                <a:tab pos="1520825" algn="l"/>
              </a:tabLst>
              <a:defRPr/>
            </a:pP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5000">
                      <a:srgbClr val="1EBEAA"/>
                    </a:gs>
                    <a:gs pos="100000">
                      <a:srgbClr val="3C45E0"/>
                    </a:gs>
                  </a:gsLst>
                  <a:lin ang="2700000" scaled="0"/>
                </a:gra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Exclusions: 	</a:t>
            </a:r>
            <a:r>
              <a:rPr kumimoji="0" lang="en-US" sz="111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Private Hospital Cover, PMBs, Accidental &amp; Emergency cover, Dental &amp; Optical benefits </a:t>
            </a:r>
          </a:p>
          <a:p>
            <a:pPr marL="181446" marR="0" lvl="0" indent="-181446" algn="ctr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>
                <a:tab pos="1520825" algn="l"/>
              </a:tabLst>
              <a:defRPr/>
            </a:pPr>
            <a:endParaRPr kumimoji="0" lang="en-ZA" sz="1111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38AFFEBB-7E28-24CA-7769-A365B1F50BC5}"/>
              </a:ext>
            </a:extLst>
          </p:cNvPr>
          <p:cNvSpPr/>
          <p:nvPr/>
        </p:nvSpPr>
        <p:spPr>
          <a:xfrm flipV="1">
            <a:off x="381368" y="1978684"/>
            <a:ext cx="3607614" cy="4366553"/>
          </a:xfrm>
          <a:prstGeom prst="round2SameRect">
            <a:avLst>
              <a:gd name="adj1" fmla="val 6895"/>
              <a:gd name="adj2" fmla="val 0"/>
            </a:avLst>
          </a:prstGeom>
          <a:solidFill>
            <a:srgbClr val="17171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endParaRPr kumimoji="0" lang="en-ZA" sz="1164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FFB831-78CA-8B2D-BA32-C16E5D1D4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11"/>
              <a:t>LCBO FRAMEWORK|NHI implementation WILL LIKELY BE incremental &amp; long-term; LCBO</a:t>
            </a:r>
            <a:r>
              <a:rPr lang="en-US" sz="2011" cap="none"/>
              <a:t>s</a:t>
            </a:r>
            <a:r>
              <a:rPr lang="en-US" sz="2011"/>
              <a:t> present an immediate opportunity TOWARDS universal coverag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E32EB45-07DC-1DD9-B5F1-2B011D12819E}"/>
              </a:ext>
            </a:extLst>
          </p:cNvPr>
          <p:cNvGrpSpPr/>
          <p:nvPr/>
        </p:nvGrpSpPr>
        <p:grpSpPr>
          <a:xfrm>
            <a:off x="533052" y="2127331"/>
            <a:ext cx="3304246" cy="4014506"/>
            <a:chOff x="527828" y="1977779"/>
            <a:chExt cx="3122255" cy="379339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6BD81BE-145B-CBB2-F915-47A8609C35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7828" y="1977779"/>
              <a:ext cx="2083887" cy="2975161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0177285-9FFC-7A7C-F852-03BCD82B3C6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92971" y="2796013"/>
              <a:ext cx="2057112" cy="2975161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EB4A12E-999A-8178-9F9D-4D09E5B9D98E}"/>
              </a:ext>
            </a:extLst>
          </p:cNvPr>
          <p:cNvSpPr/>
          <p:nvPr/>
        </p:nvSpPr>
        <p:spPr>
          <a:xfrm>
            <a:off x="4138129" y="3962577"/>
            <a:ext cx="2468919" cy="46040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098" tIns="38098" rIns="38098" bIns="3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7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ircular 5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7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[September 2022]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5BC038E-9D57-4927-12F9-BF3A4F76C0B0}"/>
              </a:ext>
            </a:extLst>
          </p:cNvPr>
          <p:cNvSpPr/>
          <p:nvPr/>
        </p:nvSpPr>
        <p:spPr>
          <a:xfrm>
            <a:off x="4138129" y="4455940"/>
            <a:ext cx="2468919" cy="1869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6197" tIns="76197" rIns="76197" rtlCol="0" anchor="t" anchorCtr="0"/>
          <a:lstStyle/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12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LCBO framework published after extensive consultations with advisory committees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12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Includes proposal for benefits and transitional process for policyholders on exempted insurance product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D7A2330-5C86-FC69-E1F0-33D306759913}"/>
              </a:ext>
            </a:extLst>
          </p:cNvPr>
          <p:cNvSpPr/>
          <p:nvPr/>
        </p:nvSpPr>
        <p:spPr>
          <a:xfrm>
            <a:off x="6736138" y="3962577"/>
            <a:ext cx="2468919" cy="46040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098" tIns="38098" rIns="38098" bIns="3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7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ircular 1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7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[March 2023]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D103AB2-65C8-6422-FE52-C8B3FBCE66FE}"/>
              </a:ext>
            </a:extLst>
          </p:cNvPr>
          <p:cNvSpPr/>
          <p:nvPr/>
        </p:nvSpPr>
        <p:spPr>
          <a:xfrm>
            <a:off x="9334146" y="3962577"/>
            <a:ext cx="2468919" cy="46040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098" tIns="38098" rIns="38098" bIns="3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7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ther points </a:t>
            </a:r>
            <a:br>
              <a:rPr kumimoji="0" lang="en-US" sz="127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127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o not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D95F6FD-E3D4-7464-686B-3CB5F2178BC1}"/>
              </a:ext>
            </a:extLst>
          </p:cNvPr>
          <p:cNvSpPr/>
          <p:nvPr/>
        </p:nvSpPr>
        <p:spPr>
          <a:xfrm>
            <a:off x="6736138" y="4455940"/>
            <a:ext cx="2468919" cy="1869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6197" tIns="76197" rIns="76197" rtlCol="0" anchor="t" anchorCtr="0"/>
          <a:lstStyle/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12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LCBO guidelines at an</a:t>
            </a:r>
            <a:b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US" sz="105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advanced stage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12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Framework being </a:t>
            </a:r>
            <a:r>
              <a:rPr kumimoji="0" lang="en-US" sz="105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developed under MSA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12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LBCO must </a:t>
            </a:r>
            <a:r>
              <a:rPr kumimoji="0" lang="en-US" sz="105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align with other policy developments </a:t>
            </a:r>
            <a:br>
              <a:rPr kumimoji="0" lang="en-US" sz="105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(PMB review and NHI)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12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CMS aimed to </a:t>
            </a:r>
            <a:r>
              <a:rPr kumimoji="0" lang="en-US" sz="105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submit framework </a:t>
            </a: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to Minister of Health by end of June 2023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8FBDAE2-F661-D39C-68EB-76855839C501}"/>
              </a:ext>
            </a:extLst>
          </p:cNvPr>
          <p:cNvSpPr/>
          <p:nvPr/>
        </p:nvSpPr>
        <p:spPr>
          <a:xfrm>
            <a:off x="9334146" y="4455940"/>
            <a:ext cx="2468919" cy="1869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6197" tIns="76197" rIns="76197" rtlCol="0" anchor="t" anchorCtr="0"/>
          <a:lstStyle/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12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Opportunity to include </a:t>
            </a:r>
            <a:b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US" sz="105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6 million people </a:t>
            </a: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into </a:t>
            </a:r>
            <a:b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medical scheme framework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12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CMS has mandate to </a:t>
            </a:r>
            <a:r>
              <a:rPr kumimoji="0" lang="en-US" sz="105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grant exemptions to medical schemes</a:t>
            </a: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 (e.g., EDOs)</a:t>
            </a:r>
          </a:p>
          <a:p>
            <a:pPr marL="181446" marR="0" lvl="0" indent="-181446" algn="l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12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Closed group of exempted insurers not in consumers’</a:t>
            </a:r>
            <a:b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US" sz="105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best interes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FB93A5-B050-4A49-01E8-176EA081D88F}"/>
              </a:ext>
            </a:extLst>
          </p:cNvPr>
          <p:cNvSpPr txBox="1"/>
          <p:nvPr/>
        </p:nvSpPr>
        <p:spPr>
          <a:xfrm>
            <a:off x="388936" y="1248346"/>
            <a:ext cx="3595689" cy="651595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ENGAGEMENTS UNDERWAY </a:t>
            </a:r>
            <a:b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</a:br>
            <a: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ON LCBO FRAMEWOR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D2971B-B164-CE5E-530B-6433001AC93F}"/>
              </a:ext>
            </a:extLst>
          </p:cNvPr>
          <p:cNvSpPr txBox="1"/>
          <p:nvPr/>
        </p:nvSpPr>
        <p:spPr>
          <a:xfrm>
            <a:off x="4130561" y="1248346"/>
            <a:ext cx="7672503" cy="651595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LCBO PRODUCT DESIG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5801785-B912-2749-05F8-F63791C5DD0B}"/>
              </a:ext>
            </a:extLst>
          </p:cNvPr>
          <p:cNvGrpSpPr/>
          <p:nvPr/>
        </p:nvGrpSpPr>
        <p:grpSpPr>
          <a:xfrm>
            <a:off x="390575" y="1857833"/>
            <a:ext cx="11419154" cy="64451"/>
            <a:chOff x="390575" y="2001351"/>
            <a:chExt cx="11419154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BDA79D1-CA19-E8BB-820B-E0011FD36979}"/>
                </a:ext>
              </a:extLst>
            </p:cNvPr>
            <p:cNvSpPr/>
            <p:nvPr/>
          </p:nvSpPr>
          <p:spPr>
            <a:xfrm>
              <a:off x="390575" y="2001351"/>
              <a:ext cx="35964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1E915B0-D19C-9BD1-39F9-C4998D15B5BD}"/>
                </a:ext>
              </a:extLst>
            </p:cNvPr>
            <p:cNvSpPr/>
            <p:nvPr/>
          </p:nvSpPr>
          <p:spPr>
            <a:xfrm>
              <a:off x="4138129" y="2001351"/>
              <a:ext cx="76716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21A3C320-CBB1-8FA2-8B9E-070BEA5E0D57}"/>
              </a:ext>
            </a:extLst>
          </p:cNvPr>
          <p:cNvSpPr txBox="1"/>
          <p:nvPr/>
        </p:nvSpPr>
        <p:spPr>
          <a:xfrm>
            <a:off x="4139375" y="3407701"/>
            <a:ext cx="7672503" cy="460403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i="0" u="none" strike="noStrike" kern="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LCBO PRODUCT DESIG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643301F-EDC0-40C0-B3AF-AC920F175AE7}"/>
              </a:ext>
            </a:extLst>
          </p:cNvPr>
          <p:cNvSpPr/>
          <p:nvPr/>
        </p:nvSpPr>
        <p:spPr>
          <a:xfrm>
            <a:off x="4146943" y="3825996"/>
            <a:ext cx="7671600" cy="6445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9242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C5FCD561-E249-B0BE-A004-6C516F9533FB}"/>
              </a:ext>
            </a:extLst>
          </p:cNvPr>
          <p:cNvSpPr/>
          <p:nvPr/>
        </p:nvSpPr>
        <p:spPr>
          <a:xfrm>
            <a:off x="3456069" y="1233488"/>
            <a:ext cx="8362867" cy="3923612"/>
          </a:xfrm>
          <a:prstGeom prst="rect">
            <a:avLst/>
          </a:prstGeom>
          <a:solidFill>
            <a:srgbClr val="17171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108000" rIns="36000" rtlCol="0" anchor="t" anchorCtr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n Wednesday 24 May, </a:t>
            </a:r>
            <a:r>
              <a:rPr kumimoji="0" lang="en-US" sz="1164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amended NHI bill </a:t>
            </a: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as approved by the Parliamentary Portfolio Committee despite the outstanding legal issues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4" b="1" i="0" u="sng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lause 33 states: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4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“Once National Health Insurance has been fully implemented </a:t>
            </a:r>
            <a:r>
              <a:rPr kumimoji="0" lang="en-US" sz="1164" b="0" i="1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s determined by the Minister through regulation in the Gazette, </a:t>
            </a:r>
            <a:r>
              <a:rPr kumimoji="0" lang="en-US" sz="1164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medical schemes may only offer complementary cover for services not reimbursable </a:t>
            </a:r>
            <a:r>
              <a:rPr kumimoji="0" lang="en-US" sz="1164" b="0" i="1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y the fund.”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4" b="1" i="0" u="sng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ey challenges &amp; risks:</a:t>
            </a: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</a:p>
          <a:p>
            <a:pPr marL="191526" marR="0" lvl="0" indent="-19152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64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Disregards the extensive and material input </a:t>
            </a: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rom</a:t>
            </a:r>
            <a:r>
              <a:rPr kumimoji="0" lang="en-US" sz="1164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FCB812"/>
                    </a:gs>
                    <a:gs pos="100000">
                      <a:srgbClr val="F00A23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ivate healthcare providers, hospital groups, medical schemes and labor unions (only minor, cosmetic changes made) </a:t>
            </a:r>
          </a:p>
          <a:p>
            <a:pPr marL="191526" marR="0" lvl="0" indent="-19152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64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Funding of the NHI </a:t>
            </a: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mains  unclear; input from National treasury and Money Bill not disclosed  </a:t>
            </a:r>
          </a:p>
          <a:p>
            <a:pPr marL="191526" marR="0" lvl="0" indent="-19152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ull implementation likely to take at least a decade; presents </a:t>
            </a:r>
            <a:r>
              <a:rPr kumimoji="0" lang="en-US" sz="1164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lengthy period of uncertainty </a:t>
            </a: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hich may result in further loss of healthcare professionals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endParaRPr kumimoji="0" lang="en-US" sz="1164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endParaRPr kumimoji="0" lang="en-US" sz="1164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scovery continues to advocate for a feasible NHI framework on a </a:t>
            </a:r>
            <a:r>
              <a:rPr kumimoji="0" lang="en-US" sz="1164" b="1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multi-fund basis </a:t>
            </a: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o allow for faster expansion with lower fiscal risk. Collaboration between public &amp; private sectors is critical to develop a workable NHI framework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endParaRPr kumimoji="0" lang="en-US" sz="1164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47"/>
              </a:spcAft>
              <a:buClrTx/>
              <a:buSzTx/>
              <a:buFontTx/>
              <a:buNone/>
              <a:tabLst/>
              <a:defRPr/>
            </a:pPr>
            <a:endParaRPr kumimoji="0" lang="en-ZA" sz="1164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FFB831-78CA-8B2D-BA32-C16E5D1D4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11"/>
              <a:t>NHI FRAMEWORK | DH remains in full support of achieving universal health coverage TO ADDRESS inequities and strengthen the health system in S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8DB5FE5-B272-0570-C60F-020EA59CAA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222" y="1241240"/>
            <a:ext cx="2657391" cy="38567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898F59C-0265-D6A4-81D6-3E588334C6D3}"/>
              </a:ext>
            </a:extLst>
          </p:cNvPr>
          <p:cNvCxnSpPr>
            <a:cxnSpLocks/>
          </p:cNvCxnSpPr>
          <p:nvPr/>
        </p:nvCxnSpPr>
        <p:spPr>
          <a:xfrm>
            <a:off x="381368" y="5801192"/>
            <a:ext cx="11414481" cy="0"/>
          </a:xfrm>
          <a:prstGeom prst="line">
            <a:avLst/>
          </a:prstGeom>
          <a:ln w="19050">
            <a:solidFill>
              <a:schemeClr val="bg2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E461302D-291B-FB36-C405-47AA88038AA6}"/>
              </a:ext>
            </a:extLst>
          </p:cNvPr>
          <p:cNvSpPr/>
          <p:nvPr/>
        </p:nvSpPr>
        <p:spPr>
          <a:xfrm>
            <a:off x="806167" y="5704425"/>
            <a:ext cx="193537" cy="193535"/>
          </a:xfrm>
          <a:prstGeom prst="flowChartConnector">
            <a:avLst/>
          </a:prstGeom>
          <a:gradFill flip="none" rotWithShape="1">
            <a:gsLst>
              <a:gs pos="45000">
                <a:srgbClr val="1EBEAA"/>
              </a:gs>
              <a:gs pos="100000">
                <a:srgbClr val="3C45E0"/>
              </a:gs>
            </a:gsLst>
            <a:lin ang="5400000" scaled="1"/>
            <a:tileRect/>
          </a:gradFill>
          <a:ln w="9525" cap="flat">
            <a:gradFill>
              <a:gsLst>
                <a:gs pos="0">
                  <a:srgbClr val="3C45E0"/>
                </a:gs>
                <a:gs pos="100000">
                  <a:srgbClr val="1EBEAA"/>
                </a:gs>
              </a:gsLst>
              <a:lin ang="5400000" scaled="1"/>
            </a:gradFill>
            <a:prstDash val="solid"/>
            <a:miter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4838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40" b="0" i="0" u="none" strike="noStrike" kern="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D762C2A3-06EC-6A6F-F954-BC5E9440D3CC}"/>
              </a:ext>
            </a:extLst>
          </p:cNvPr>
          <p:cNvSpPr/>
          <p:nvPr/>
        </p:nvSpPr>
        <p:spPr>
          <a:xfrm>
            <a:off x="2475329" y="5713205"/>
            <a:ext cx="193537" cy="193535"/>
          </a:xfrm>
          <a:prstGeom prst="flowChartConnector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40" b="0" i="0" u="none" strike="noStrike" kern="1200" cap="none" spc="0" normalizeH="0" baseline="0" noProof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Flowchart: Connector 13">
            <a:extLst>
              <a:ext uri="{FF2B5EF4-FFF2-40B4-BE49-F238E27FC236}">
                <a16:creationId xmlns:a16="http://schemas.microsoft.com/office/drawing/2014/main" id="{468745F9-A624-B947-A21D-25422538E8BD}"/>
              </a:ext>
            </a:extLst>
          </p:cNvPr>
          <p:cNvSpPr/>
          <p:nvPr/>
        </p:nvSpPr>
        <p:spPr>
          <a:xfrm>
            <a:off x="6230716" y="5713205"/>
            <a:ext cx="193537" cy="193535"/>
          </a:xfrm>
          <a:prstGeom prst="flowChartConnector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40" b="0" i="0" u="none" strike="noStrike" kern="1200" cap="none" spc="0" normalizeH="0" baseline="0" noProof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628C847-D899-B2A8-47AD-9A35C99C1BCB}"/>
              </a:ext>
            </a:extLst>
          </p:cNvPr>
          <p:cNvSpPr txBox="1"/>
          <p:nvPr/>
        </p:nvSpPr>
        <p:spPr>
          <a:xfrm>
            <a:off x="190940" y="5914924"/>
            <a:ext cx="1538366" cy="47570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4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5000">
                      <a:srgbClr val="1EBEAA"/>
                    </a:gs>
                    <a:gs pos="100000">
                      <a:srgbClr val="3C45E0"/>
                    </a:gs>
                  </a:gsLst>
                  <a:lin ang="2700000" scaled="0"/>
                </a:gra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MENDED BILL APPROVED BY PPC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7340180-5801-96C3-82C7-ABB355A32BFD}"/>
              </a:ext>
            </a:extLst>
          </p:cNvPr>
          <p:cNvSpPr txBox="1"/>
          <p:nvPr/>
        </p:nvSpPr>
        <p:spPr>
          <a:xfrm>
            <a:off x="1696007" y="5927443"/>
            <a:ext cx="1740234" cy="40594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2" b="0" i="0" u="none" strike="noStrike" kern="1200" cap="none" spc="0" normalizeH="0" baseline="0" noProof="0" dirty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ill reviewed and passed by National Assembl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CB58BD9-1606-F13E-CAA2-8594D8EE8472}"/>
              </a:ext>
            </a:extLst>
          </p:cNvPr>
          <p:cNvSpPr txBox="1"/>
          <p:nvPr/>
        </p:nvSpPr>
        <p:spPr>
          <a:xfrm>
            <a:off x="7119794" y="5927443"/>
            <a:ext cx="1740234" cy="40594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ill signed </a:t>
            </a:r>
            <a:b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y President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F877390-AD2A-92A7-F24D-636E0B2BFAA2}"/>
              </a:ext>
            </a:extLst>
          </p:cNvPr>
          <p:cNvCxnSpPr>
            <a:cxnSpLocks/>
          </p:cNvCxnSpPr>
          <p:nvPr/>
        </p:nvCxnSpPr>
        <p:spPr>
          <a:xfrm>
            <a:off x="902935" y="5164741"/>
            <a:ext cx="0" cy="548463"/>
          </a:xfrm>
          <a:prstGeom prst="straightConnector1">
            <a:avLst/>
          </a:prstGeom>
          <a:ln w="19050">
            <a:solidFill>
              <a:schemeClr val="bg2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7C9E4857-DD31-D88E-8940-DFD3BE089A79}"/>
              </a:ext>
            </a:extLst>
          </p:cNvPr>
          <p:cNvSpPr txBox="1"/>
          <p:nvPr/>
        </p:nvSpPr>
        <p:spPr>
          <a:xfrm>
            <a:off x="8540895" y="5927443"/>
            <a:ext cx="1740234" cy="40594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ill passed </a:t>
            </a:r>
            <a:b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to Law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DE08AF-E192-E9CB-2FC6-0EA349485E03}"/>
              </a:ext>
            </a:extLst>
          </p:cNvPr>
          <p:cNvSpPr txBox="1"/>
          <p:nvPr/>
        </p:nvSpPr>
        <p:spPr>
          <a:xfrm>
            <a:off x="3504914" y="5927443"/>
            <a:ext cx="2105683" cy="40594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ill reviewed and passed by National Council of Provinc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7AF7331-322C-B577-86FB-4B217799F764}"/>
              </a:ext>
            </a:extLst>
          </p:cNvPr>
          <p:cNvSpPr txBox="1"/>
          <p:nvPr/>
        </p:nvSpPr>
        <p:spPr>
          <a:xfrm>
            <a:off x="5374842" y="5927443"/>
            <a:ext cx="1914257" cy="40594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pdates reviewed by </a:t>
            </a:r>
            <a:b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ational Assembly</a:t>
            </a:r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E16984E9-F8A0-8184-EA4D-C331750D211A}"/>
              </a:ext>
            </a:extLst>
          </p:cNvPr>
          <p:cNvSpPr/>
          <p:nvPr/>
        </p:nvSpPr>
        <p:spPr>
          <a:xfrm>
            <a:off x="4447547" y="5713205"/>
            <a:ext cx="193537" cy="193535"/>
          </a:xfrm>
          <a:prstGeom prst="flowChartConnector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40" b="0" i="0" u="none" strike="noStrike" kern="1200" cap="none" spc="0" normalizeH="0" baseline="0" noProof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9" name="Flowchart: Connector 28">
            <a:extLst>
              <a:ext uri="{FF2B5EF4-FFF2-40B4-BE49-F238E27FC236}">
                <a16:creationId xmlns:a16="http://schemas.microsoft.com/office/drawing/2014/main" id="{22ADBB0E-977C-4A1B-0BB0-8EA5D1B90069}"/>
              </a:ext>
            </a:extLst>
          </p:cNvPr>
          <p:cNvSpPr/>
          <p:nvPr/>
        </p:nvSpPr>
        <p:spPr>
          <a:xfrm>
            <a:off x="7890341" y="5713205"/>
            <a:ext cx="193537" cy="193535"/>
          </a:xfrm>
          <a:prstGeom prst="flowChartConnector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40" b="0" i="0" u="none" strike="noStrike" kern="1200" cap="none" spc="0" normalizeH="0" baseline="0" noProof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3" name="Flowchart: Connector 32">
            <a:extLst>
              <a:ext uri="{FF2B5EF4-FFF2-40B4-BE49-F238E27FC236}">
                <a16:creationId xmlns:a16="http://schemas.microsoft.com/office/drawing/2014/main" id="{891F7FBA-99E2-5CBB-38D9-382336905B62}"/>
              </a:ext>
            </a:extLst>
          </p:cNvPr>
          <p:cNvSpPr/>
          <p:nvPr/>
        </p:nvSpPr>
        <p:spPr>
          <a:xfrm>
            <a:off x="9332246" y="5713205"/>
            <a:ext cx="193537" cy="193535"/>
          </a:xfrm>
          <a:prstGeom prst="flowChartConnector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40" b="0" i="0" u="none" strike="noStrike" kern="1200" cap="none" spc="0" normalizeH="0" baseline="0" noProof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87F5325-10AC-6A38-7FA2-F9D57997B1BC}"/>
              </a:ext>
            </a:extLst>
          </p:cNvPr>
          <p:cNvSpPr txBox="1"/>
          <p:nvPr/>
        </p:nvSpPr>
        <p:spPr>
          <a:xfrm>
            <a:off x="10451767" y="5927443"/>
            <a:ext cx="1740234" cy="40594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HI </a:t>
            </a:r>
            <a:b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952" b="0" i="0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ully implemented</a:t>
            </a:r>
          </a:p>
        </p:txBody>
      </p:sp>
      <p:sp>
        <p:nvSpPr>
          <p:cNvPr id="40" name="Flowchart: Connector 39">
            <a:extLst>
              <a:ext uri="{FF2B5EF4-FFF2-40B4-BE49-F238E27FC236}">
                <a16:creationId xmlns:a16="http://schemas.microsoft.com/office/drawing/2014/main" id="{0E869E2B-86DE-C146-2E02-E16092581FAE}"/>
              </a:ext>
            </a:extLst>
          </p:cNvPr>
          <p:cNvSpPr/>
          <p:nvPr/>
        </p:nvSpPr>
        <p:spPr>
          <a:xfrm>
            <a:off x="11236367" y="5713205"/>
            <a:ext cx="193537" cy="193535"/>
          </a:xfrm>
          <a:prstGeom prst="flowChartConnector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40" b="0" i="0" u="none" strike="noStrike" kern="1200" cap="none" spc="0" normalizeH="0" baseline="0" noProof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0" name="Right Brace 49">
            <a:extLst>
              <a:ext uri="{FF2B5EF4-FFF2-40B4-BE49-F238E27FC236}">
                <a16:creationId xmlns:a16="http://schemas.microsoft.com/office/drawing/2014/main" id="{1C1BF4DB-6E80-8DC1-0EC6-AB49F64D78EB}"/>
              </a:ext>
            </a:extLst>
          </p:cNvPr>
          <p:cNvSpPr/>
          <p:nvPr/>
        </p:nvSpPr>
        <p:spPr>
          <a:xfrm rot="16200000">
            <a:off x="5044712" y="1324865"/>
            <a:ext cx="215472" cy="8499023"/>
          </a:xfrm>
          <a:prstGeom prst="rightBrace">
            <a:avLst>
              <a:gd name="adj1" fmla="val 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1" name="Right Brace 50">
            <a:extLst>
              <a:ext uri="{FF2B5EF4-FFF2-40B4-BE49-F238E27FC236}">
                <a16:creationId xmlns:a16="http://schemas.microsoft.com/office/drawing/2014/main" id="{31FA20EE-3D52-FD86-0962-2AB5A60EFEA1}"/>
              </a:ext>
            </a:extLst>
          </p:cNvPr>
          <p:cNvSpPr/>
          <p:nvPr/>
        </p:nvSpPr>
        <p:spPr>
          <a:xfrm rot="16200000">
            <a:off x="6012196" y="388396"/>
            <a:ext cx="201600" cy="10420121"/>
          </a:xfrm>
          <a:prstGeom prst="rightBrace">
            <a:avLst>
              <a:gd name="adj1" fmla="val 0"/>
              <a:gd name="adj2" fmla="val 92367"/>
            </a:avLst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83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DD525A6-D209-B789-652B-C7313BD20250}"/>
              </a:ext>
            </a:extLst>
          </p:cNvPr>
          <p:cNvSpPr txBox="1"/>
          <p:nvPr/>
        </p:nvSpPr>
        <p:spPr>
          <a:xfrm>
            <a:off x="4424111" y="5308734"/>
            <a:ext cx="1562800" cy="21089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8384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41" b="0" i="1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stimated Time Frame: 1-2 yr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DDAED07-27C7-3205-8E36-A12B3FC61831}"/>
              </a:ext>
            </a:extLst>
          </p:cNvPr>
          <p:cNvSpPr txBox="1"/>
          <p:nvPr/>
        </p:nvSpPr>
        <p:spPr>
          <a:xfrm>
            <a:off x="9760254" y="5308734"/>
            <a:ext cx="1562800" cy="21089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8384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41" b="0" i="1" u="none" strike="noStrike" kern="1200" cap="none" spc="0" normalizeH="0" baseline="0" noProof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stimated Time Frame: +10 yr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1A7F55E-CCB5-1544-8605-215DBB3F421B}"/>
              </a:ext>
            </a:extLst>
          </p:cNvPr>
          <p:cNvGrpSpPr/>
          <p:nvPr/>
        </p:nvGrpSpPr>
        <p:grpSpPr>
          <a:xfrm>
            <a:off x="3227942" y="1241240"/>
            <a:ext cx="99151" cy="3924000"/>
            <a:chOff x="3227942" y="1241240"/>
            <a:chExt cx="99151" cy="3924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E8B603C-1565-2911-D3E3-07822751A415}"/>
                </a:ext>
              </a:extLst>
            </p:cNvPr>
            <p:cNvGrpSpPr/>
            <p:nvPr/>
          </p:nvGrpSpPr>
          <p:grpSpPr>
            <a:xfrm>
              <a:off x="3227942" y="1241240"/>
              <a:ext cx="0" cy="3924000"/>
              <a:chOff x="3227942" y="1233488"/>
              <a:chExt cx="0" cy="4090748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DD4026CE-4272-DC21-373B-1D9E22E4EE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942" y="1233488"/>
                <a:ext cx="0" cy="1895236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A70EC387-87CF-CE35-BE5D-3B26440152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942" y="3429000"/>
                <a:ext cx="0" cy="1895236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0F4E5136-8C49-7FB2-6FC2-492E374A21A0}"/>
                </a:ext>
              </a:extLst>
            </p:cNvPr>
            <p:cNvSpPr/>
            <p:nvPr/>
          </p:nvSpPr>
          <p:spPr>
            <a:xfrm>
              <a:off x="3227942" y="3106596"/>
              <a:ext cx="99151" cy="196668"/>
            </a:xfrm>
            <a:prstGeom prst="chevron">
              <a:avLst>
                <a:gd name="adj" fmla="val 83781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chemeClr val="tx1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E480A5D-B48E-CF2A-05D0-A99077D41929}"/>
              </a:ext>
            </a:extLst>
          </p:cNvPr>
          <p:cNvGrpSpPr/>
          <p:nvPr/>
        </p:nvGrpSpPr>
        <p:grpSpPr>
          <a:xfrm>
            <a:off x="3916393" y="4206673"/>
            <a:ext cx="7584634" cy="99151"/>
            <a:chOff x="3916393" y="4206673"/>
            <a:chExt cx="7584634" cy="99151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71446C7-5381-50CA-B787-5F851F6D2522}"/>
                </a:ext>
              </a:extLst>
            </p:cNvPr>
            <p:cNvGrpSpPr/>
            <p:nvPr/>
          </p:nvGrpSpPr>
          <p:grpSpPr>
            <a:xfrm rot="5400000">
              <a:off x="7708709" y="419449"/>
              <a:ext cx="1" cy="7584634"/>
              <a:chOff x="3227942" y="1244505"/>
              <a:chExt cx="1" cy="3971688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D359EA70-828E-6CCC-C895-493E8FC4AC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943" y="1244505"/>
                <a:ext cx="0" cy="1895236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3BD3F8F7-1EAD-03F4-E301-DF84AD65E9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942" y="3320957"/>
                <a:ext cx="0" cy="1895236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37A5A85B-0247-94A6-6EA9-91C12B2BB36D}"/>
                </a:ext>
              </a:extLst>
            </p:cNvPr>
            <p:cNvSpPr/>
            <p:nvPr/>
          </p:nvSpPr>
          <p:spPr>
            <a:xfrm rot="5400000">
              <a:off x="7659134" y="4157915"/>
              <a:ext cx="99151" cy="196668"/>
            </a:xfrm>
            <a:prstGeom prst="chevron">
              <a:avLst>
                <a:gd name="adj" fmla="val 83781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737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ARCOAL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462</TotalTime>
  <Words>640</Words>
  <Application>Microsoft Office PowerPoint</Application>
  <PresentationFormat>Widescreen</PresentationFormat>
  <Paragraphs>75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Open Sans</vt:lpstr>
      <vt:lpstr>Open Sans Light</vt:lpstr>
      <vt:lpstr>Open Sans Semibold</vt:lpstr>
      <vt:lpstr>Wingdings</vt:lpstr>
      <vt:lpstr>CHARCOAL</vt:lpstr>
      <vt:lpstr>think-cell Slide</vt:lpstr>
      <vt:lpstr>BUILDING A BETTER HEALTHCARE SYSTEM</vt:lpstr>
      <vt:lpstr>Access to primary healthcare is highly valued</vt:lpstr>
      <vt:lpstr>LCBO FRAMEWORK|NHI implementation WILL LIKELY BE incremental &amp; long-term; LCBOs present an immediate opportunity TOWARDS universal coverage</vt:lpstr>
      <vt:lpstr>NHI FRAMEWORK | DH remains in full support of achieving universal health coverage TO ADDRESS inequities and strengthen the health system in S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Industry Workshop</dc:title>
  <dc:creator>Media Drawer</dc:creator>
  <cp:lastModifiedBy>Lianne Osterberger</cp:lastModifiedBy>
  <cp:revision>280</cp:revision>
  <dcterms:created xsi:type="dcterms:W3CDTF">2022-04-19T10:35:57Z</dcterms:created>
  <dcterms:modified xsi:type="dcterms:W3CDTF">2023-07-18T06:20:22Z</dcterms:modified>
</cp:coreProperties>
</file>